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svg" ContentType="image/svg+xml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05.xml" ContentType="application/vnd.openxmlformats-officedocument.presentationml.slide+xml"/>
  <Override PartName="/ppt/tags/tag347.xml" ContentType="application/vnd.openxmlformats-officedocument.presentationml.tags+xml"/>
  <Override PartName="/ppt/tags/tag346.xml" ContentType="application/vnd.openxmlformats-officedocument.presentationml.tags+xml"/>
  <Override PartName="/ppt/notesSlides/notesSlide10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2" r:id="rId10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05.xml" Id="rId10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5.xml.rels>&#65279;<?xml version="1.0" encoding="utf-8"?><Relationships xmlns="http://schemas.openxmlformats.org/package/2006/relationships"><Relationship Type="http://schemas.openxmlformats.org/officeDocument/2006/relationships/slide" Target="/ppt/slides/slide105.xml" Id="rId2" /><Relationship Type="http://schemas.openxmlformats.org/officeDocument/2006/relationships/notesMaster" Target="/ppt/notesMasters/notesMaster1.xml" Id="rId1" /></Relationship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938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5.xml.rels>&#65279;<?xml version="1.0" encoding="utf-8"?><Relationships xmlns="http://schemas.openxmlformats.org/package/2006/relationships"><Relationship Type="http://schemas.openxmlformats.org/officeDocument/2006/relationships/image" Target="/ppt/media/image125.png" Id="rId8" /><Relationship Type="http://schemas.openxmlformats.org/officeDocument/2006/relationships/tags" Target="/ppt/tags/tag347.xml" Id="rId3" /><Relationship Type="http://schemas.openxmlformats.org/officeDocument/2006/relationships/image" Target="/ppt/media/image4.emf" Id="rId7" /><Relationship Type="http://schemas.openxmlformats.org/officeDocument/2006/relationships/tags" Target="/ppt/tags/tag346.xml" Id="rId2" /><Relationship Type="http://schemas.openxmlformats.org/officeDocument/2006/relationships/vmlDrawing" Target="/ppt/drawings/vmlDrawing109.vml" Id="rId1" /><Relationship Type="http://schemas.openxmlformats.org/officeDocument/2006/relationships/oleObject" Target="/ppt/embeddings/oleObject109.bin" Id="rId6" /><Relationship Type="http://schemas.openxmlformats.org/officeDocument/2006/relationships/image" Target="/ppt/media/image128.svg" Id="rId11" /><Relationship Type="http://schemas.openxmlformats.org/officeDocument/2006/relationships/notesSlide" Target="/ppt/notesSlides/notesSlide105.xml" Id="rId5" /><Relationship Type="http://schemas.openxmlformats.org/officeDocument/2006/relationships/image" Target="/ppt/media/image127.png" Id="rId10" /><Relationship Type="http://schemas.openxmlformats.org/officeDocument/2006/relationships/slideLayout" Target="/ppt/slideLayouts/slideLayout5.xml" Id="rId4" /><Relationship Type="http://schemas.openxmlformats.org/officeDocument/2006/relationships/image" Target="/ppt/media/image126.svg" Id="rId9" /></Relationships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1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5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s and cons II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6A86AAC9-B4B7-4347-8E70-866AADE3686A}"/>
              </a:ext>
            </a:extLst>
          </p:cNvPr>
          <p:cNvGrpSpPr>
            <a:grpSpLocks/>
          </p:cNvGrpSpPr>
          <p:nvPr/>
        </p:nvGrpSpPr>
        <p:grpSpPr>
          <a:xfrm>
            <a:off x="4125119" y="1692971"/>
            <a:ext cx="3941762" cy="3940370"/>
            <a:chOff x="4125119" y="1692971"/>
            <a:chExt cx="3941762" cy="3940370"/>
          </a:xfrm>
        </p:grpSpPr>
        <p:sp>
          <p:nvSpPr>
            <p:cNvPr id="3" name="Freihandform: Form 15">
              <a:extLst>
                <a:ext uri="{FF2B5EF4-FFF2-40B4-BE49-F238E27FC236}">
                  <a16:creationId xmlns:a16="http://schemas.microsoft.com/office/drawing/2014/main" id="{303DA833-7585-352A-B6B7-BEEDE0F9C0CB}"/>
                </a:ext>
              </a:extLst>
            </p:cNvPr>
            <p:cNvSpPr>
              <a:spLocks/>
            </p:cNvSpPr>
            <p:nvPr/>
          </p:nvSpPr>
          <p:spPr>
            <a:xfrm>
              <a:off x="4125119" y="1692971"/>
              <a:ext cx="1911285" cy="3940370"/>
            </a:xfrm>
            <a:custGeom>
              <a:avLst/>
              <a:gdLst>
                <a:gd name="connsiteX0" fmla="*/ 444851 w 692236"/>
                <a:gd name="connsiteY0" fmla="*/ 713513 h 1426994"/>
                <a:gd name="connsiteX1" fmla="*/ 520550 w 692236"/>
                <a:gd name="connsiteY1" fmla="*/ 526655 h 1426994"/>
                <a:gd name="connsiteX2" fmla="*/ 692237 w 692236"/>
                <a:gd name="connsiteY2" fmla="*/ 445437 h 1426994"/>
                <a:gd name="connsiteX3" fmla="*/ 692237 w 692236"/>
                <a:gd name="connsiteY3" fmla="*/ 0 h 1426994"/>
                <a:gd name="connsiteX4" fmla="*/ 0 w 692236"/>
                <a:gd name="connsiteY4" fmla="*/ 713513 h 1426994"/>
                <a:gd name="connsiteX5" fmla="*/ 692237 w 692236"/>
                <a:gd name="connsiteY5" fmla="*/ 1426995 h 1426994"/>
                <a:gd name="connsiteX6" fmla="*/ 692237 w 692236"/>
                <a:gd name="connsiteY6" fmla="*/ 981589 h 1426994"/>
                <a:gd name="connsiteX7" fmla="*/ 520550 w 692236"/>
                <a:gd name="connsiteY7" fmla="*/ 900370 h 1426994"/>
                <a:gd name="connsiteX8" fmla="*/ 444851 w 692236"/>
                <a:gd name="connsiteY8" fmla="*/ 713513 h 142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2236" h="1426994">
                  <a:moveTo>
                    <a:pt x="444851" y="713513"/>
                  </a:moveTo>
                  <a:cubicBezTo>
                    <a:pt x="444851" y="643487"/>
                    <a:pt x="471739" y="577100"/>
                    <a:pt x="520550" y="526655"/>
                  </a:cubicBezTo>
                  <a:cubicBezTo>
                    <a:pt x="566462" y="479170"/>
                    <a:pt x="627052" y="450617"/>
                    <a:pt x="692237" y="445437"/>
                  </a:cubicBezTo>
                  <a:lnTo>
                    <a:pt x="692237" y="0"/>
                  </a:lnTo>
                  <a:cubicBezTo>
                    <a:pt x="309394" y="11501"/>
                    <a:pt x="0" y="328974"/>
                    <a:pt x="0" y="713513"/>
                  </a:cubicBezTo>
                  <a:cubicBezTo>
                    <a:pt x="0" y="1098051"/>
                    <a:pt x="309394" y="1415524"/>
                    <a:pt x="692237" y="1426995"/>
                  </a:cubicBezTo>
                  <a:lnTo>
                    <a:pt x="692237" y="981589"/>
                  </a:lnTo>
                  <a:cubicBezTo>
                    <a:pt x="627052" y="976408"/>
                    <a:pt x="566462" y="947825"/>
                    <a:pt x="520550" y="900370"/>
                  </a:cubicBezTo>
                  <a:cubicBezTo>
                    <a:pt x="471739" y="849894"/>
                    <a:pt x="444851" y="783538"/>
                    <a:pt x="444851" y="713513"/>
                  </a:cubicBezTo>
                  <a:close/>
                </a:path>
              </a:pathLst>
            </a:custGeom>
            <a:solidFill>
              <a:schemeClr val="accent1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ihandform: Form 16">
              <a:extLst>
                <a:ext uri="{FF2B5EF4-FFF2-40B4-BE49-F238E27FC236}">
                  <a16:creationId xmlns:a16="http://schemas.microsoft.com/office/drawing/2014/main" id="{86BF731B-B2E2-4E1D-E96F-F1DCC89FB557}"/>
                </a:ext>
              </a:extLst>
            </p:cNvPr>
            <p:cNvSpPr>
              <a:spLocks/>
            </p:cNvSpPr>
            <p:nvPr/>
          </p:nvSpPr>
          <p:spPr>
            <a:xfrm>
              <a:off x="6155596" y="1692971"/>
              <a:ext cx="1911285" cy="3940284"/>
            </a:xfrm>
            <a:custGeom>
              <a:avLst/>
              <a:gdLst>
                <a:gd name="connsiteX0" fmla="*/ 0 w 692236"/>
                <a:gd name="connsiteY0" fmla="*/ 0 h 1426963"/>
                <a:gd name="connsiteX1" fmla="*/ 0 w 692236"/>
                <a:gd name="connsiteY1" fmla="*/ 445406 h 1426963"/>
                <a:gd name="connsiteX2" fmla="*/ 171687 w 692236"/>
                <a:gd name="connsiteY2" fmla="*/ 526624 h 1426963"/>
                <a:gd name="connsiteX3" fmla="*/ 247386 w 692236"/>
                <a:gd name="connsiteY3" fmla="*/ 713482 h 1426963"/>
                <a:gd name="connsiteX4" fmla="*/ 171687 w 692236"/>
                <a:gd name="connsiteY4" fmla="*/ 900339 h 1426963"/>
                <a:gd name="connsiteX5" fmla="*/ 0 w 692236"/>
                <a:gd name="connsiteY5" fmla="*/ 981558 h 1426963"/>
                <a:gd name="connsiteX6" fmla="*/ 0 w 692236"/>
                <a:gd name="connsiteY6" fmla="*/ 1426964 h 1426963"/>
                <a:gd name="connsiteX7" fmla="*/ 692237 w 692236"/>
                <a:gd name="connsiteY7" fmla="*/ 713482 h 1426963"/>
                <a:gd name="connsiteX8" fmla="*/ 0 w 692236"/>
                <a:gd name="connsiteY8" fmla="*/ 0 h 142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2236" h="1426963">
                  <a:moveTo>
                    <a:pt x="0" y="0"/>
                  </a:moveTo>
                  <a:lnTo>
                    <a:pt x="0" y="445406"/>
                  </a:lnTo>
                  <a:cubicBezTo>
                    <a:pt x="65184" y="450586"/>
                    <a:pt x="125774" y="479170"/>
                    <a:pt x="171687" y="526624"/>
                  </a:cubicBezTo>
                  <a:cubicBezTo>
                    <a:pt x="220498" y="577100"/>
                    <a:pt x="247386" y="643456"/>
                    <a:pt x="247386" y="713482"/>
                  </a:cubicBezTo>
                  <a:cubicBezTo>
                    <a:pt x="247386" y="783507"/>
                    <a:pt x="220498" y="849894"/>
                    <a:pt x="171687" y="900339"/>
                  </a:cubicBezTo>
                  <a:cubicBezTo>
                    <a:pt x="125774" y="947794"/>
                    <a:pt x="65184" y="976378"/>
                    <a:pt x="0" y="981558"/>
                  </a:cubicBezTo>
                  <a:lnTo>
                    <a:pt x="0" y="1426964"/>
                  </a:lnTo>
                  <a:cubicBezTo>
                    <a:pt x="382842" y="1415493"/>
                    <a:pt x="692237" y="1097989"/>
                    <a:pt x="692237" y="713482"/>
                  </a:cubicBezTo>
                  <a:cubicBezTo>
                    <a:pt x="692237" y="328974"/>
                    <a:pt x="382842" y="11501"/>
                    <a:pt x="0" y="0"/>
                  </a:cubicBezTo>
                  <a:close/>
                </a:path>
              </a:pathLst>
            </a:custGeom>
            <a:solidFill>
              <a:schemeClr val="accent5"/>
            </a:solidFill>
            <a:ln w="3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02">
              <a:extLst>
                <a:ext uri="{FF2B5EF4-FFF2-40B4-BE49-F238E27FC236}">
                  <a16:creationId xmlns:a16="http://schemas.microsoft.com/office/drawing/2014/main" id="{8BCA96D8-F807-99C7-2FB2-FAC53B4B5B56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5485271" y="3052643"/>
              <a:ext cx="1221458" cy="1221027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lang="en-US" sz="1200" b="1">
                <a:solidFill>
                  <a:schemeClr val="accent1"/>
                </a:solidFill>
                <a:sym typeface="Futura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CC04CAF0-BBCA-8998-9950-0D47F194C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01766" y="3327199"/>
              <a:ext cx="671914" cy="671914"/>
            </a:xfrm>
            <a:prstGeom prst="rect">
              <a:avLst/>
            </a:prstGeom>
          </p:spPr>
        </p:pic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C22952F7-C45E-8CE5-5DB9-AD01E891C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099268" y="3327199"/>
              <a:ext cx="671914" cy="671914"/>
            </a:xfrm>
            <a:prstGeom prst="rect">
              <a:avLst/>
            </a:prstGeom>
          </p:spPr>
        </p:pic>
      </p:grpSp>
      <p:sp>
        <p:nvSpPr>
          <p:cNvPr id="100" name="Textplatzhalter 8">
            <a:extLst>
              <a:ext uri="{FF2B5EF4-FFF2-40B4-BE49-F238E27FC236}">
                <a16:creationId xmlns:a16="http://schemas.microsoft.com/office/drawing/2014/main" id="{45620CC0-08C0-6597-5EE2-34D15C6F350F}"/>
              </a:ext>
            </a:extLst>
          </p:cNvPr>
          <p:cNvSpPr txBox="1">
            <a:spLocks/>
          </p:cNvSpPr>
          <p:nvPr/>
        </p:nvSpPr>
        <p:spPr bwMode="gray">
          <a:xfrm>
            <a:off x="419099" y="3270741"/>
            <a:ext cx="3374001" cy="78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</a:p>
        </p:txBody>
      </p:sp>
      <p:sp>
        <p:nvSpPr>
          <p:cNvPr id="115" name="Textplatzhalter 8">
            <a:extLst>
              <a:ext uri="{FF2B5EF4-FFF2-40B4-BE49-F238E27FC236}">
                <a16:creationId xmlns:a16="http://schemas.microsoft.com/office/drawing/2014/main" id="{D16F31F8-3BDD-885A-9545-92643387E7AD}"/>
              </a:ext>
            </a:extLst>
          </p:cNvPr>
          <p:cNvSpPr txBox="1">
            <a:spLocks/>
          </p:cNvSpPr>
          <p:nvPr/>
        </p:nvSpPr>
        <p:spPr bwMode="gray">
          <a:xfrm>
            <a:off x="788879" y="4502005"/>
            <a:ext cx="3374001" cy="78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</a:p>
        </p:txBody>
      </p:sp>
      <p:sp>
        <p:nvSpPr>
          <p:cNvPr id="116" name="Textplatzhalter 8">
            <a:extLst>
              <a:ext uri="{FF2B5EF4-FFF2-40B4-BE49-F238E27FC236}">
                <a16:creationId xmlns:a16="http://schemas.microsoft.com/office/drawing/2014/main" id="{6B049898-9CAC-0960-62A7-34FDC25E339D}"/>
              </a:ext>
            </a:extLst>
          </p:cNvPr>
          <p:cNvSpPr txBox="1">
            <a:spLocks/>
          </p:cNvSpPr>
          <p:nvPr/>
        </p:nvSpPr>
        <p:spPr bwMode="gray">
          <a:xfrm>
            <a:off x="788879" y="2025899"/>
            <a:ext cx="3374001" cy="78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Lorem ipsu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</a:p>
        </p:txBody>
      </p:sp>
      <p:sp>
        <p:nvSpPr>
          <p:cNvPr id="119" name="Textplatzhalter 8">
            <a:extLst>
              <a:ext uri="{FF2B5EF4-FFF2-40B4-BE49-F238E27FC236}">
                <a16:creationId xmlns:a16="http://schemas.microsoft.com/office/drawing/2014/main" id="{67007033-383A-27F4-5492-5616F4DDB806}"/>
              </a:ext>
            </a:extLst>
          </p:cNvPr>
          <p:cNvSpPr txBox="1">
            <a:spLocks/>
          </p:cNvSpPr>
          <p:nvPr/>
        </p:nvSpPr>
        <p:spPr bwMode="gray">
          <a:xfrm>
            <a:off x="8368694" y="3277530"/>
            <a:ext cx="3431486" cy="78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</a:p>
        </p:txBody>
      </p:sp>
      <p:sp>
        <p:nvSpPr>
          <p:cNvPr id="120" name="Textplatzhalter 8">
            <a:extLst>
              <a:ext uri="{FF2B5EF4-FFF2-40B4-BE49-F238E27FC236}">
                <a16:creationId xmlns:a16="http://schemas.microsoft.com/office/drawing/2014/main" id="{8729EE1B-0E3F-04DD-1F18-D6A2BCF6B1E5}"/>
              </a:ext>
            </a:extLst>
          </p:cNvPr>
          <p:cNvSpPr txBox="1">
            <a:spLocks/>
          </p:cNvSpPr>
          <p:nvPr/>
        </p:nvSpPr>
        <p:spPr bwMode="gray">
          <a:xfrm>
            <a:off x="7998914" y="4508794"/>
            <a:ext cx="3431486" cy="78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</a:p>
        </p:txBody>
      </p:sp>
      <p:sp>
        <p:nvSpPr>
          <p:cNvPr id="121" name="Textplatzhalter 8">
            <a:extLst>
              <a:ext uri="{FF2B5EF4-FFF2-40B4-BE49-F238E27FC236}">
                <a16:creationId xmlns:a16="http://schemas.microsoft.com/office/drawing/2014/main" id="{1DE90AA5-9E69-258F-C56B-2A1D478EB050}"/>
              </a:ext>
            </a:extLst>
          </p:cNvPr>
          <p:cNvSpPr txBox="1">
            <a:spLocks/>
          </p:cNvSpPr>
          <p:nvPr/>
        </p:nvSpPr>
        <p:spPr bwMode="gray">
          <a:xfrm>
            <a:off x="7998914" y="2032688"/>
            <a:ext cx="3431486" cy="78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Lorem ips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sym typeface="Futura"/>
              </a:rPr>
              <a:t> 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7F4929F-DD15-BC0B-42EE-45A049F939E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93161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, con</a:t>
            </a:r>
            <a:r>
              <a:rPr lang="en-US" sz="1000">
                <a:solidFill>
                  <a:schemeClr val="tx2"/>
                </a:solidFill>
              </a:rPr>
              <a:t>, circle, circles</a:t>
            </a:r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035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